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2147140411" r:id="rId5"/>
    <p:sldId id="2147140426" r:id="rId6"/>
    <p:sldId id="2147140427" r:id="rId7"/>
    <p:sldId id="2147140433" r:id="rId8"/>
    <p:sldId id="2147140428" r:id="rId9"/>
    <p:sldId id="2147140434" r:id="rId10"/>
    <p:sldId id="2147140431" r:id="rId11"/>
    <p:sldId id="2147140430" r:id="rId12"/>
    <p:sldId id="2147140432" r:id="rId13"/>
    <p:sldId id="2147140429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426"/>
            <p14:sldId id="2147140427"/>
            <p14:sldId id="2147140433"/>
            <p14:sldId id="2147140428"/>
            <p14:sldId id="2147140434"/>
            <p14:sldId id="2147140431"/>
            <p14:sldId id="2147140430"/>
            <p14:sldId id="2147140432"/>
            <p14:sldId id="214714042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4"/>
  </p:normalViewPr>
  <p:slideViewPr>
    <p:cSldViewPr snapToGrid="0">
      <p:cViewPr varScale="1">
        <p:scale>
          <a:sx n="153" d="100"/>
          <a:sy n="153" d="100"/>
        </p:scale>
        <p:origin x="552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7/2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7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703191"/>
            <a:ext cx="4698834" cy="403828"/>
          </a:xfrm>
        </p:spPr>
        <p:txBody>
          <a:bodyPr/>
          <a:lstStyle/>
          <a:p>
            <a:endParaRPr lang="en-US">
              <a:latin typeface="Graphik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ED62A1A-3CB8-BDF5-1253-2D06AB83F04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4206300" y="-259080"/>
            <a:ext cx="6921666" cy="6858000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8171BC-5CF2-F8CB-E67E-923319AC35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CE7ECE1-4525-9FE4-6EFF-45879A647B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93055B-769C-5449-E847-67A9AA8C6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xtra Pictur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CD07DA-2D82-D09B-5D7B-50BE73F983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DD7ED22-FA9A-2198-461A-001D5EE751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285" y="2262645"/>
            <a:ext cx="5660715" cy="3102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2103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BEDAA0-231F-67F3-8F26-00D43A1593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90BA32-BAEA-25DA-576F-AB11571DE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aper summar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429C76-6C80-CB16-DA5A-BC567B1CBB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25493B9-D34F-0FDB-6E37-6314B99D9B9D}"/>
              </a:ext>
            </a:extLst>
          </p:cNvPr>
          <p:cNvSpPr txBox="1"/>
          <p:nvPr/>
        </p:nvSpPr>
        <p:spPr>
          <a:xfrm>
            <a:off x="370417" y="1173980"/>
            <a:ext cx="9506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accent1"/>
                </a:solidFill>
              </a:rPr>
              <a:t>Asks two related questions:</a:t>
            </a:r>
          </a:p>
          <a:p>
            <a:endParaRPr lang="en-AU" dirty="0"/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What are the </a:t>
            </a:r>
            <a:r>
              <a:rPr lang="en-AU" b="1" dirty="0"/>
              <a:t>employment effects</a:t>
            </a:r>
            <a:r>
              <a:rPr lang="en-AU" dirty="0"/>
              <a:t> of low-income wage subsides/tax-credits?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What are the </a:t>
            </a:r>
            <a:r>
              <a:rPr lang="en-AU" b="1" dirty="0"/>
              <a:t>wage effects</a:t>
            </a:r>
            <a:r>
              <a:rPr lang="en-AU" dirty="0"/>
              <a:t> of such a subsidy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988F16-19E7-63DE-3949-218F9E47EBAB}"/>
              </a:ext>
            </a:extLst>
          </p:cNvPr>
          <p:cNvSpPr txBox="1"/>
          <p:nvPr/>
        </p:nvSpPr>
        <p:spPr>
          <a:xfrm>
            <a:off x="370417" y="2736502"/>
            <a:ext cx="9506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accent1"/>
                </a:solidFill>
              </a:rPr>
              <a:t>Uses a reform in France in 2015:</a:t>
            </a:r>
          </a:p>
          <a:p>
            <a:endParaRPr lang="en-AU" dirty="0"/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Decreased and increased </a:t>
            </a:r>
            <a:r>
              <a:rPr lang="en-AU" b="1" dirty="0"/>
              <a:t>marginal tax rates</a:t>
            </a:r>
            <a:r>
              <a:rPr lang="en-AU" dirty="0"/>
              <a:t> across the low-earner distribution.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Decreased </a:t>
            </a:r>
            <a:r>
              <a:rPr lang="en-AU" b="1" dirty="0"/>
              <a:t>participation tax rates</a:t>
            </a:r>
            <a:r>
              <a:rPr lang="en-AU" dirty="0"/>
              <a:t> across the low-earner distribution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347C18-F159-E019-5860-FEE0D3ACC0D0}"/>
              </a:ext>
            </a:extLst>
          </p:cNvPr>
          <p:cNvSpPr txBox="1"/>
          <p:nvPr/>
        </p:nvSpPr>
        <p:spPr>
          <a:xfrm>
            <a:off x="370417" y="4299024"/>
            <a:ext cx="9506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>
                <a:solidFill>
                  <a:schemeClr val="accent1"/>
                </a:solidFill>
              </a:rPr>
              <a:t>From a </a:t>
            </a:r>
            <a:r>
              <a:rPr lang="en-AU" b="1" dirty="0">
                <a:solidFill>
                  <a:schemeClr val="accent1"/>
                </a:solidFill>
              </a:rPr>
              <a:t>10% reduction in the net of participation tax rate</a:t>
            </a:r>
            <a:r>
              <a:rPr lang="en-AU" dirty="0">
                <a:solidFill>
                  <a:schemeClr val="accent1"/>
                </a:solidFill>
              </a:rPr>
              <a:t>:</a:t>
            </a:r>
          </a:p>
          <a:p>
            <a:endParaRPr lang="en-AU" dirty="0"/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A 2.7% increase in hours worked.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A 3.1% decline in wages (31% pass through to firms)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DE75BE-D706-0F22-8C86-CBDF74E7C933}"/>
              </a:ext>
            </a:extLst>
          </p:cNvPr>
          <p:cNvSpPr txBox="1"/>
          <p:nvPr/>
        </p:nvSpPr>
        <p:spPr>
          <a:xfrm>
            <a:off x="370417" y="5861546"/>
            <a:ext cx="9506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Extensive margin response with no intensive margin response </a:t>
            </a:r>
            <a:r>
              <a:rPr lang="en-AU" b="1" dirty="0">
                <a:solidFill>
                  <a:schemeClr val="accent1"/>
                </a:solidFill>
              </a:rPr>
              <a:t>consistent with literature</a:t>
            </a:r>
            <a:r>
              <a:rPr lang="en-AU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618294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11303-8BDC-CE4B-AEA9-824EEDA2A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D22A2-A993-2B67-8646-1C9EB32408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36A565-1605-23C6-4C54-F22FA5802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pproach and identific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44A298-B7EA-2630-F608-F741BD2750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FF06FB-D8D9-3749-A0E9-C58026E06869}"/>
              </a:ext>
            </a:extLst>
          </p:cNvPr>
          <p:cNvSpPr txBox="1"/>
          <p:nvPr/>
        </p:nvSpPr>
        <p:spPr>
          <a:xfrm>
            <a:off x="648393" y="1409008"/>
            <a:ext cx="1014662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hift-share IV approach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V an exogenous change in the MTR and PTR due to the policy (at the initial level of earning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ffering intensity by region based on hours-weighted change in tax measure.</a:t>
            </a:r>
            <a:endParaRPr lang="en-NZ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9F15F2A-0193-920F-3ED7-ABA963DA4C16}"/>
              </a:ext>
            </a:extLst>
          </p:cNvPr>
          <p:cNvSpPr txBox="1"/>
          <p:nvPr/>
        </p:nvSpPr>
        <p:spPr>
          <a:xfrm>
            <a:off x="648393" y="2854037"/>
            <a:ext cx="8403583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Identification requires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ditional quasi-random assignment (exogeneity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cio-economic groups are substitutes in the </a:t>
            </a:r>
            <a:r>
              <a:rPr lang="en-US" dirty="0" err="1"/>
              <a:t>labour</a:t>
            </a:r>
            <a:r>
              <a:rPr lang="en-US" dirty="0"/>
              <a:t> market (wage spillover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cal </a:t>
            </a:r>
            <a:r>
              <a:rPr lang="en-US" dirty="0" err="1"/>
              <a:t>labour</a:t>
            </a:r>
            <a:r>
              <a:rPr lang="en-US" dirty="0"/>
              <a:t> markets are distinct (limited mobility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ny uncorrelated shock clust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lev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Z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264256-CA0E-E2B2-B618-382362CDA7EC}"/>
              </a:ext>
            </a:extLst>
          </p:cNvPr>
          <p:cNvSpPr txBox="1"/>
          <p:nvPr/>
        </p:nvSpPr>
        <p:spPr>
          <a:xfrm>
            <a:off x="465511" y="5027572"/>
            <a:ext cx="63129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his is clearly outlined in the paper, and well argued.</a:t>
            </a:r>
            <a:endParaRPr lang="en-NZ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DEF9C3-D15A-D740-C02E-32D6B853B8F1}"/>
              </a:ext>
            </a:extLst>
          </p:cNvPr>
          <p:cNvSpPr txBox="1"/>
          <p:nvPr/>
        </p:nvSpPr>
        <p:spPr>
          <a:xfrm>
            <a:off x="465511" y="5709760"/>
            <a:ext cx="6618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owever, have to talk for 10 mins – so here are some thoughts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654609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71A87D-4091-0AC0-1C11-EE9089B4C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58F2BF-72B3-DF40-82A7-78317D3BDE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FBA088-3F23-8B07-338C-3F7E22A9D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92" y="586785"/>
            <a:ext cx="11459365" cy="700597"/>
          </a:xfrm>
        </p:spPr>
        <p:txBody>
          <a:bodyPr/>
          <a:lstStyle/>
          <a:p>
            <a:r>
              <a:rPr lang="en-AU" dirty="0"/>
              <a:t>Potential limitations: Interpretation of the shock variab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530A54-AF3E-9A67-3FDD-EFBEC963B7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FE89CE-9477-657F-0751-8C50092FB3B3}"/>
              </a:ext>
            </a:extLst>
          </p:cNvPr>
          <p:cNvSpPr txBox="1"/>
          <p:nvPr/>
        </p:nvSpPr>
        <p:spPr>
          <a:xfrm>
            <a:off x="295603" y="1088477"/>
            <a:ext cx="107053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The simulated shocks are based on the change in tax incentives from their </a:t>
            </a:r>
            <a:r>
              <a:rPr lang="en-AU" b="1" dirty="0"/>
              <a:t>status quo</a:t>
            </a:r>
            <a:r>
              <a:rPr lang="en-AU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Legitimate method to deal with endogeneity in marginal tax rates due to the progressive scale (motivated </a:t>
            </a:r>
            <a:r>
              <a:rPr lang="en-AU" dirty="0" err="1"/>
              <a:t>wrt</a:t>
            </a:r>
            <a:r>
              <a:rPr lang="en-AU" dirty="0"/>
              <a:t> ETI literature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But doesn’t account for inframarginal changes in the budget constraint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6601C17-5B4B-238C-A556-C64A738E71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584" y="2576921"/>
            <a:ext cx="4578559" cy="296766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38D76FC-3A35-5580-1928-A16EEB773543}"/>
              </a:ext>
            </a:extLst>
          </p:cNvPr>
          <p:cNvSpPr txBox="1"/>
          <p:nvPr/>
        </p:nvSpPr>
        <p:spPr>
          <a:xfrm>
            <a:off x="241540" y="5506956"/>
            <a:ext cx="10705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This type of change is the main shock that occurs in this refor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044CD51-93E4-4CF9-B497-D21D129ADF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79" y="2658297"/>
            <a:ext cx="3750512" cy="277305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E4565AD-81F1-ED73-8BC5-8A0607471306}"/>
              </a:ext>
            </a:extLst>
          </p:cNvPr>
          <p:cNvSpPr txBox="1"/>
          <p:nvPr/>
        </p:nvSpPr>
        <p:spPr>
          <a:xfrm>
            <a:off x="241540" y="5978605"/>
            <a:ext cx="10705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Will characterise individuals with significant extensive margin incentive as having none, and potentially the opposite. </a:t>
            </a:r>
            <a:r>
              <a:rPr lang="en-AU" b="1" dirty="0"/>
              <a:t>Sensitivity</a:t>
            </a:r>
            <a:r>
              <a:rPr lang="en-AU" dirty="0"/>
              <a:t>: “Reverse reform” approach.</a:t>
            </a:r>
          </a:p>
        </p:txBody>
      </p:sp>
    </p:spTree>
    <p:extLst>
      <p:ext uri="{BB962C8B-B14F-4D97-AF65-F5344CB8AC3E}">
        <p14:creationId xmlns:p14="http://schemas.microsoft.com/office/powerpoint/2010/main" val="14299607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E1DF9-4C40-31DF-9624-4AA265CBF5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F35CCA-A4A8-A503-0973-7C297DA7C1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036631C-BA93-DD6D-F27C-7BCB93FD6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92" y="586785"/>
            <a:ext cx="11459365" cy="700597"/>
          </a:xfrm>
        </p:spPr>
        <p:txBody>
          <a:bodyPr/>
          <a:lstStyle/>
          <a:p>
            <a:r>
              <a:rPr lang="en-AU" dirty="0"/>
              <a:t>Potential limitations: Interpretation of the shock variab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1DA48-EBFE-B35C-09BB-8263CE7BE4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A2C223B-CD89-284B-0B7E-9BCD30F4F2A1}"/>
              </a:ext>
            </a:extLst>
          </p:cNvPr>
          <p:cNvSpPr txBox="1"/>
          <p:nvPr/>
        </p:nvSpPr>
        <p:spPr>
          <a:xfrm>
            <a:off x="370417" y="1145262"/>
            <a:ext cx="10705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Furthermore, two regions could have the same shock with two very different patterns of treatment.</a:t>
            </a:r>
          </a:p>
          <a:p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1CE832-6631-4AA0-09FF-75852E573E85}"/>
              </a:ext>
            </a:extLst>
          </p:cNvPr>
          <p:cNvSpPr txBox="1"/>
          <p:nvPr/>
        </p:nvSpPr>
        <p:spPr>
          <a:xfrm>
            <a:off x="336591" y="3086699"/>
            <a:ext cx="10705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Sensitivity</a:t>
            </a:r>
            <a:r>
              <a:rPr lang="en-AU" dirty="0"/>
              <a:t>: Alternative weighting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09B40D-FD93-8C5E-60F7-8E5100D694B9}"/>
              </a:ext>
            </a:extLst>
          </p:cNvPr>
          <p:cNvSpPr txBox="1"/>
          <p:nvPr/>
        </p:nvSpPr>
        <p:spPr>
          <a:xfrm>
            <a:off x="336591" y="1839860"/>
            <a:ext cx="956802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dirty="0"/>
              <a:t>Two regions with 10 people of same SD characteristics, A and B. In </a:t>
            </a:r>
            <a:r>
              <a:rPr lang="en-AU" dirty="0">
                <a:solidFill>
                  <a:schemeClr val="accent2"/>
                </a:solidFill>
              </a:rPr>
              <a:t>region A 10 people see net PTR fall by 1%</a:t>
            </a:r>
            <a:r>
              <a:rPr lang="en-AU" dirty="0"/>
              <a:t>, in </a:t>
            </a:r>
            <a:r>
              <a:rPr lang="en-AU" dirty="0">
                <a:solidFill>
                  <a:schemeClr val="accent4"/>
                </a:solidFill>
              </a:rPr>
              <a:t>region B 1 person sees it fall by 10%</a:t>
            </a:r>
            <a:r>
              <a:rPr lang="en-AU" dirty="0"/>
              <a:t>. </a:t>
            </a:r>
            <a:r>
              <a:rPr lang="en-AU" b="1" dirty="0"/>
              <a:t>Both regions have the same shock</a:t>
            </a:r>
            <a:r>
              <a:rPr lang="en-AU" dirty="0"/>
              <a:t>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0185E05-A7C7-79E9-1271-FF8FA294742C}"/>
              </a:ext>
            </a:extLst>
          </p:cNvPr>
          <p:cNvSpPr txBox="1"/>
          <p:nvPr/>
        </p:nvSpPr>
        <p:spPr>
          <a:xfrm>
            <a:off x="336591" y="4058296"/>
            <a:ext cx="107053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However, given the shift share design the instrument does not need to be perfect. So these points do not threaten the core result – and likely suggests the effects are attenuat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strument is </a:t>
            </a:r>
            <a:r>
              <a:rPr lang="en-AU" b="1" dirty="0"/>
              <a:t>exogenous</a:t>
            </a:r>
            <a:r>
              <a:rPr lang="en-AU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strument has been shown to be relevant in the </a:t>
            </a:r>
            <a:r>
              <a:rPr lang="en-AU" b="1" dirty="0"/>
              <a:t>PTR case</a:t>
            </a:r>
            <a:r>
              <a:rPr lang="en-AU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098290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D35BF3B-3D80-B09B-566A-2DAE8C1CB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4E804B-A768-CA95-5E4A-D9B80812AD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CE411B-F17A-2876-E781-9FE498831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92" y="586785"/>
            <a:ext cx="11459365" cy="700597"/>
          </a:xfrm>
        </p:spPr>
        <p:txBody>
          <a:bodyPr/>
          <a:lstStyle/>
          <a:p>
            <a:r>
              <a:rPr lang="en-AU" dirty="0"/>
              <a:t>Potential limitations: Interpretation of the shock variab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35C4CC-A97C-A1C1-EE2C-034D19B6E5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9C0CC66-80BB-5508-403E-E089DAA17446}"/>
              </a:ext>
            </a:extLst>
          </p:cNvPr>
          <p:cNvSpPr txBox="1"/>
          <p:nvPr/>
        </p:nvSpPr>
        <p:spPr>
          <a:xfrm>
            <a:off x="370417" y="1656829"/>
            <a:ext cx="1070538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Participation rate concern</a:t>
            </a:r>
            <a:r>
              <a:rPr lang="en-AU" dirty="0"/>
              <a:t>: 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Take the individual who receives the largest hour-weighted treatment. On the substitution margin their MTR is unchanged, but the income effect will lower their work incentives. 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Take an unemployed individual.  On the substitution margin the MTR is lower, and there is no income effect.</a:t>
            </a:r>
          </a:p>
          <a:p>
            <a:pPr marL="342900" indent="-342900">
              <a:buFont typeface="+mj-lt"/>
              <a:buAutoNum type="arabicPeriod"/>
            </a:pPr>
            <a:endParaRPr lang="en-AU" dirty="0"/>
          </a:p>
          <a:p>
            <a:r>
              <a:rPr lang="en-AU" dirty="0"/>
              <a:t>However, this instrument would treat the former as treated and the later as untreate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66282E4-8DB4-834F-D970-F57F11223594}"/>
              </a:ext>
            </a:extLst>
          </p:cNvPr>
          <p:cNvSpPr txBox="1"/>
          <p:nvPr/>
        </p:nvSpPr>
        <p:spPr>
          <a:xfrm>
            <a:off x="336592" y="3925948"/>
            <a:ext cx="111718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Second issue </a:t>
            </a:r>
            <a:r>
              <a:rPr lang="en-AU" b="1" dirty="0"/>
              <a:t>is addressed</a:t>
            </a:r>
            <a:r>
              <a:rPr lang="en-AU" dirty="0"/>
              <a:t> by imputing their income based on characteristics to estimate a treatment intensity (add sensitivity to imputation and selection). But the uncertain relation to work incentives remain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97765F-ECEA-8082-A41E-B86760B6A276}"/>
              </a:ext>
            </a:extLst>
          </p:cNvPr>
          <p:cNvSpPr txBox="1"/>
          <p:nvPr/>
        </p:nvSpPr>
        <p:spPr>
          <a:xfrm>
            <a:off x="274821" y="1155844"/>
            <a:ext cx="10705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Furthermore, the simulated shocks are based on the change in tax incentives from their status quo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27F00C-2848-86E9-D266-CB7B75025807}"/>
              </a:ext>
            </a:extLst>
          </p:cNvPr>
          <p:cNvSpPr txBox="1"/>
          <p:nvPr/>
        </p:nvSpPr>
        <p:spPr>
          <a:xfrm>
            <a:off x="336592" y="4932644"/>
            <a:ext cx="10705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Sensitivity</a:t>
            </a:r>
            <a:r>
              <a:rPr lang="en-AU" dirty="0"/>
              <a:t>: “Reverse policy” status quo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D9F34D-0319-E9C1-0279-D990DC66F98B}"/>
              </a:ext>
            </a:extLst>
          </p:cNvPr>
          <p:cNvSpPr txBox="1"/>
          <p:nvPr/>
        </p:nvSpPr>
        <p:spPr>
          <a:xfrm>
            <a:off x="336592" y="5869170"/>
            <a:ext cx="10705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Note: </a:t>
            </a:r>
            <a:r>
              <a:rPr lang="en-AU" dirty="0"/>
              <a:t>Not to relevant, can speak to on slide 4 without showing.</a:t>
            </a:r>
          </a:p>
        </p:txBody>
      </p:sp>
    </p:spTree>
    <p:extLst>
      <p:ext uri="{BB962C8B-B14F-4D97-AF65-F5344CB8AC3E}">
        <p14:creationId xmlns:p14="http://schemas.microsoft.com/office/powerpoint/2010/main" val="3794574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C08079-2D21-97BA-067B-1AD5E1952F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5A4049-F178-98D4-8E4F-C408D617CC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BE5802A-F329-EC61-77EB-AF011A6D6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otential limitations: Importance of randomly-assigned-shock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334877-634D-9121-088F-9318F4CF4E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CFC445-E4C7-82F1-EE27-4E479F78C88B}"/>
              </a:ext>
            </a:extLst>
          </p:cNvPr>
          <p:cNvSpPr txBox="1"/>
          <p:nvPr/>
        </p:nvSpPr>
        <p:spPr>
          <a:xfrm>
            <a:off x="436416" y="1400750"/>
            <a:ext cx="955132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Due to the shock being designed and released at the national level, these shocks can be seen as (conditionally) randomly assigned – i.e. individuals in the same positions in different areas would receive the same treatment. </a:t>
            </a:r>
          </a:p>
          <a:p>
            <a:endParaRPr lang="en-AU" dirty="0"/>
          </a:p>
          <a:p>
            <a:r>
              <a:rPr lang="en-AU" dirty="0"/>
              <a:t>However, there is a risk that the political process did drive a design based on differential expected outcomes for some regions in the future. As a placebo, parallel trends are used to motivate identification.</a:t>
            </a:r>
          </a:p>
          <a:p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b="1" dirty="0" err="1"/>
              <a:t>Chaisemartin</a:t>
            </a:r>
            <a:r>
              <a:rPr lang="en-AU" b="1" dirty="0"/>
              <a:t> &amp; Lei (2022)</a:t>
            </a:r>
            <a:r>
              <a:rPr lang="en-AU" dirty="0"/>
              <a:t>: Under parallel trends, heterogenous treatment effects can bias result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EE2766-3CCE-BC56-1412-6141D2EC4C1B}"/>
              </a:ext>
            </a:extLst>
          </p:cNvPr>
          <p:cNvSpPr txBox="1"/>
          <p:nvPr/>
        </p:nvSpPr>
        <p:spPr>
          <a:xfrm>
            <a:off x="299758" y="4514585"/>
            <a:ext cx="1127987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The combination of instrument measurement (which may generate artificial heterogeneity in treatment, even if true treatment effects are homogenous) and concerns about aggregation of heterogeneous treatment can bias estimate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D10BD6-7D54-C1F1-061A-6F7752C57352}"/>
              </a:ext>
            </a:extLst>
          </p:cNvPr>
          <p:cNvSpPr txBox="1"/>
          <p:nvPr/>
        </p:nvSpPr>
        <p:spPr>
          <a:xfrm>
            <a:off x="299758" y="5519039"/>
            <a:ext cx="11279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Suggestion</a:t>
            </a:r>
            <a:r>
              <a:rPr lang="en-AU" dirty="0"/>
              <a:t>: Report heterogenous treatment effects and show underlying weights.</a:t>
            </a:r>
          </a:p>
        </p:txBody>
      </p:sp>
    </p:spTree>
    <p:extLst>
      <p:ext uri="{BB962C8B-B14F-4D97-AF65-F5344CB8AC3E}">
        <p14:creationId xmlns:p14="http://schemas.microsoft.com/office/powerpoint/2010/main" val="28251229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3F2381-1461-AAF2-1CE5-1604AB256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282D0BF-7905-D393-0C85-53C147997BD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3DEF1E-0BD2-D6EC-B531-D6B03D1449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otential limitations: Mobilit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5D1420-8474-9877-001F-135192350D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BEBFDD-0E5C-FFDC-0827-D5F966A5FB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5057" y="1976235"/>
            <a:ext cx="5420481" cy="290553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1898C95-7AF7-F104-3CEB-142C151E8629}"/>
              </a:ext>
            </a:extLst>
          </p:cNvPr>
          <p:cNvSpPr txBox="1"/>
          <p:nvPr/>
        </p:nvSpPr>
        <p:spPr>
          <a:xfrm>
            <a:off x="500332" y="1354347"/>
            <a:ext cx="525769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obility between regions shown to be limited</a:t>
            </a:r>
            <a:br>
              <a:rPr lang="en-AU" dirty="0"/>
            </a:br>
            <a:r>
              <a:rPr lang="en-AU" dirty="0"/>
              <a:t>over the perio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However, the key interest is mobility among </a:t>
            </a:r>
            <a:br>
              <a:rPr lang="en-AU" dirty="0"/>
            </a:br>
            <a:r>
              <a:rPr lang="en-AU" dirty="0"/>
              <a:t>treated individua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Key would be to show </a:t>
            </a:r>
            <a:r>
              <a:rPr lang="en-AU" b="1" dirty="0"/>
              <a:t>limited mobility by treatment intensity</a:t>
            </a:r>
            <a:r>
              <a:rPr lang="en-AU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Significant </a:t>
            </a:r>
            <a:r>
              <a:rPr lang="en-AU"/>
              <a:t>mobility would XXX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432568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2D0652-56E8-5F05-1C45-1E7867E35E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538FC5-AF64-A5F1-6E75-9752FE5749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B45658-B6F9-434E-961A-FAF12D3B0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Minor ques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5F5985-371E-017C-165A-964F14BF5F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2D6379D-10F5-80F2-E9AD-2F65828EB564}"/>
              </a:ext>
            </a:extLst>
          </p:cNvPr>
          <p:cNvSpPr txBox="1"/>
          <p:nvPr/>
        </p:nvSpPr>
        <p:spPr>
          <a:xfrm>
            <a:off x="707366" y="1500996"/>
            <a:ext cx="1055010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e imputation of wages for non-participants is done via OLS. Heckman selection model an alternati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Equivalisation of earnings: No standard scale used, would be good to check sensitivity of socio-demographic groups on the basis of OECD sca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Sensitivity to unbalanced pan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General equilibrium effects (what happens to the level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ere is imperfect take-up, when prior policies had low or full take-up. These changes in treatment status may themselves be informative of behavioural responses.</a:t>
            </a:r>
          </a:p>
        </p:txBody>
      </p:sp>
    </p:spTree>
    <p:extLst>
      <p:ext uri="{BB962C8B-B14F-4D97-AF65-F5344CB8AC3E}">
        <p14:creationId xmlns:p14="http://schemas.microsoft.com/office/powerpoint/2010/main" val="3074858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4025935-85eb-43e8-ab32-734675053e7f" xsi:nil="true"/>
    <lcf76f155ced4ddcb4097134ff3c332f xmlns="aa802c90-64f7-4260-a678-c5c09559402a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8A1619F266734FBC2B48FB95398739" ma:contentTypeVersion="18" ma:contentTypeDescription="Create a new document." ma:contentTypeScope="" ma:versionID="8dc4163b27f0ec44a22c6d7358323f5f">
  <xsd:schema xmlns:xsd="http://www.w3.org/2001/XMLSchema" xmlns:xs="http://www.w3.org/2001/XMLSchema" xmlns:p="http://schemas.microsoft.com/office/2006/metadata/properties" xmlns:ns2="aa802c90-64f7-4260-a678-c5c09559402a" xmlns:ns3="d4025935-85eb-43e8-ab32-734675053e7f" targetNamespace="http://schemas.microsoft.com/office/2006/metadata/properties" ma:root="true" ma:fieldsID="a1176a965c39d1ac1c7d6ef690b32559" ns2:_="" ns3:_="">
    <xsd:import namespace="aa802c90-64f7-4260-a678-c5c09559402a"/>
    <xsd:import namespace="d4025935-85eb-43e8-ab32-734675053e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02c90-64f7-4260-a678-c5c0955940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025935-85eb-43e8-ab32-734675053e7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d7d9116-efc1-484d-8b57-8af332a5bfd6}" ma:internalName="TaxCatchAll" ma:showField="CatchAllData" ma:web="d4025935-85eb-43e8-ab32-734675053e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36B762-179B-48EA-90B2-E74079BA15DE}">
  <ds:schemaRefs>
    <ds:schemaRef ds:uri="d4025935-85eb-43e8-ab32-734675053e7f"/>
    <ds:schemaRef ds:uri="aa802c90-64f7-4260-a678-c5c09559402a"/>
    <ds:schemaRef ds:uri="http://www.w3.org/XML/1998/namespace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54E5144-405F-49D2-89C0-6C01A508B4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802c90-64f7-4260-a678-c5c09559402a"/>
    <ds:schemaRef ds:uri="d4025935-85eb-43e8-ab32-734675053e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 (1)</Template>
  <TotalTime>858</TotalTime>
  <Words>876</Words>
  <Application>Microsoft Office PowerPoint</Application>
  <PresentationFormat>Widescreen</PresentationFormat>
  <Paragraphs>94</Paragraphs>
  <Slides>10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Graphik</vt:lpstr>
      <vt:lpstr>GT Sectra Fine</vt:lpstr>
      <vt:lpstr>Proxima Nova Rg</vt:lpstr>
      <vt:lpstr>System Font</vt:lpstr>
      <vt:lpstr>e61 slide master</vt:lpstr>
      <vt:lpstr>think-cell Slide</vt:lpstr>
      <vt:lpstr>PowerPoint Presentation</vt:lpstr>
      <vt:lpstr>Paper summary</vt:lpstr>
      <vt:lpstr>Approach and identification</vt:lpstr>
      <vt:lpstr>Potential limitations: Interpretation of the shock variable</vt:lpstr>
      <vt:lpstr>Potential limitations: Interpretation of the shock variable</vt:lpstr>
      <vt:lpstr>Potential limitations: Interpretation of the shock variable</vt:lpstr>
      <vt:lpstr>Potential limitations: Importance of randomly-assigned-shocks</vt:lpstr>
      <vt:lpstr>Potential limitations: Mobility</vt:lpstr>
      <vt:lpstr>Minor questions</vt:lpstr>
      <vt:lpstr>Extra Pictur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 Nolan</dc:creator>
  <cp:lastModifiedBy>Matt</cp:lastModifiedBy>
  <cp:revision>33</cp:revision>
  <dcterms:created xsi:type="dcterms:W3CDTF">2025-07-27T23:18:17Z</dcterms:created>
  <dcterms:modified xsi:type="dcterms:W3CDTF">2025-07-29T10:1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A1619F266734FBC2B48FB95398739</vt:lpwstr>
  </property>
  <property fmtid="{D5CDD505-2E9C-101B-9397-08002B2CF9AE}" pid="3" name="MediaServiceImageTags">
    <vt:lpwstr/>
  </property>
</Properties>
</file>